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9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3845" y="1727803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3845" y="2104040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5945" y="1727802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5945" y="209541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257" y="1419826"/>
            <a:ext cx="7997825" cy="307975"/>
          </a:xfrm>
        </p:spPr>
        <p:txBody>
          <a:bodyPr/>
          <a:lstStyle/>
          <a:p>
            <a:r>
              <a:rPr lang="de-DE" dirty="0"/>
              <a:t>Neue S7-1500 SPS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47290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Obsoleszenz, </a:t>
            </a:r>
            <a:r>
              <a:rPr lang="en-US" sz="800" kern="0" noProof="1">
                <a:solidFill>
                  <a:srgbClr val="000000"/>
                </a:solidFill>
                <a:latin typeface="Arial"/>
              </a:rPr>
              <a:t>Effizienz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Alle Verpackungsanlagen (außer </a:t>
            </a:r>
            <a:r>
              <a:rPr lang="de-DE" sz="800" dirty="0" err="1">
                <a:solidFill>
                  <a:srgbClr val="000000"/>
                </a:solidFill>
              </a:rPr>
              <a:t>Palletizer</a:t>
            </a:r>
            <a:r>
              <a:rPr lang="de-DE" sz="800" dirty="0">
                <a:solidFill>
                  <a:srgbClr val="000000"/>
                </a:solidFill>
              </a:rPr>
              <a:t> P4)</a:t>
            </a: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CLC-055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3004" y="2104039"/>
            <a:ext cx="3866263" cy="357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Leistungsoptimierung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Zuverlässigkeit </a:t>
            </a:r>
            <a:r>
              <a:rPr lang="de-DE" sz="1100" dirty="0" err="1">
                <a:solidFill>
                  <a:srgbClr val="000000"/>
                </a:solidFill>
              </a:rPr>
              <a:t>undProduktivitätssteigerung</a:t>
            </a:r>
            <a:r>
              <a:rPr lang="de-DE" sz="1100" dirty="0">
                <a:solidFill>
                  <a:srgbClr val="000000"/>
                </a:solidFill>
              </a:rPr>
              <a:t>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Funktionales Design, einfache Handhabung und maximale Benutzerfreundlichkeit in vielen neuen Details: integrierte Potenzialrangierer, werkzeuglos montierbare Schirmelemente, einheitliche Frontstecker, ergonomische Klemmenbeschriftung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Autonomie des Wartungspersonals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rhöhte Speicherkapazität ermöglicht zusätzliche Formatgröße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 Funktionalitäten optional möglich (genauere Anpassungen, kürzere Reaktionszeiten und Befehlsbearbeitungszeit bis 1ns in der CPU)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iagnose für die Wartung erleichtert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Hohes Sicherheits- und Sicherheitsniveau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rhöhung des Maschinenlebenszyklus um mehr als 50 000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45945" y="2116741"/>
            <a:ext cx="3910143" cy="8207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Lieferung von Siemens SPS S7-1500 auf dem neuesten Stand der Technik.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Installiert mit Controller TIA Portal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sz="1100" dirty="0">
                <a:solidFill>
                  <a:srgbClr val="000000"/>
                </a:solidFill>
              </a:rPr>
              <a:t>Lizenz zum Direktkauf durch den Kunden bei Siemens</a:t>
            </a:r>
            <a:endParaRPr lang="es-ES" sz="1100" dirty="0">
              <a:solidFill>
                <a:srgbClr val="000000"/>
              </a:solidFill>
            </a:endParaRPr>
          </a:p>
        </p:txBody>
      </p:sp>
      <p:pic>
        <p:nvPicPr>
          <p:cNvPr id="18" name="Image 2" descr="image003">
            <a:extLst>
              <a:ext uri="{FF2B5EF4-FFF2-40B4-BE49-F238E27FC236}">
                <a16:creationId xmlns:a16="http://schemas.microsoft.com/office/drawing/2014/main" id="{D408C316-CAF4-4400-A2BF-70FF3E52A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892" y="3339953"/>
            <a:ext cx="2621372" cy="121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 32">
            <a:extLst>
              <a:ext uri="{FF2B5EF4-FFF2-40B4-BE49-F238E27FC236}">
                <a16:creationId xmlns:a16="http://schemas.microsoft.com/office/drawing/2014/main" id="{3F8F6933-0B66-4927-BB5E-0ABDF090BD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388" y="4598251"/>
            <a:ext cx="2666876" cy="111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506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63</TotalTime>
  <Words>131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Vorbeugen von Lieferengpässen bei Ersatzteil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4</cp:revision>
  <dcterms:created xsi:type="dcterms:W3CDTF">2019-02-20T10:39:16Z</dcterms:created>
  <dcterms:modified xsi:type="dcterms:W3CDTF">2021-06-09T13:4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09T13:44:14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